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50" r:id="rId1"/>
  </p:sldMasterIdLst>
  <p:notesMasterIdLst>
    <p:notesMasterId r:id="rId5"/>
  </p:notesMasterIdLst>
  <p:sldIdLst>
    <p:sldId id="259" r:id="rId2"/>
    <p:sldId id="264" r:id="rId3"/>
    <p:sldId id="265" r:id="rId4"/>
  </p:sldIdLst>
  <p:sldSz cx="12192000" cy="6858000"/>
  <p:notesSz cx="6797675" cy="9926638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0" autoAdjust="0"/>
  </p:normalViewPr>
  <p:slideViewPr>
    <p:cSldViewPr snapToObjects="1" showGuides="1">
      <p:cViewPr varScale="1">
        <p:scale>
          <a:sx n="80" d="100"/>
          <a:sy n="80" d="100"/>
        </p:scale>
        <p:origin x="48" y="18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/>
              <a:pPr/>
              <a:t>11/1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de-DE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19293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de-DE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02813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(small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white">
            <a:extLst>
              <a:ext uri="{FF2B5EF4-FFF2-40B4-BE49-F238E27FC236}">
                <a16:creationId xmlns:a16="http://schemas.microsoft.com/office/drawing/2014/main" id="{F04D9277-8711-A6FA-6E09-5522C01761E6}"/>
              </a:ext>
            </a:extLst>
          </p:cNvPr>
          <p:cNvSpPr/>
          <p:nvPr userDrawn="1"/>
        </p:nvSpPr>
        <p:spPr>
          <a:xfrm>
            <a:off x="192088" y="6031835"/>
            <a:ext cx="11807824" cy="6281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4" name="Bildplatzhalter">
            <a:extLst>
              <a:ext uri="{FF2B5EF4-FFF2-40B4-BE49-F238E27FC236}">
                <a16:creationId xmlns:a16="http://schemas.microsoft.com/office/drawing/2014/main" id="{830BE22D-5FF6-42FB-85B3-DB82480465F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2088" y="188911"/>
            <a:ext cx="11807827" cy="3708402"/>
          </a:xfrm>
          <a:custGeom>
            <a:avLst/>
            <a:gdLst>
              <a:gd name="connsiteX0" fmla="*/ 0 w 11807827"/>
              <a:gd name="connsiteY0" fmla="*/ 0 h 3708402"/>
              <a:gd name="connsiteX1" fmla="*/ 288941 w 11807827"/>
              <a:gd name="connsiteY1" fmla="*/ 0 h 3708402"/>
              <a:gd name="connsiteX2" fmla="*/ 288941 w 11807827"/>
              <a:gd name="connsiteY2" fmla="*/ 1058993 h 3708402"/>
              <a:gd name="connsiteX3" fmla="*/ 2752882 w 11807827"/>
              <a:gd name="connsiteY3" fmla="*/ 1058993 h 3708402"/>
              <a:gd name="connsiteX4" fmla="*/ 2752882 w 11807827"/>
              <a:gd name="connsiteY4" fmla="*/ 0 h 3708402"/>
              <a:gd name="connsiteX5" fmla="*/ 11807827 w 11807827"/>
              <a:gd name="connsiteY5" fmla="*/ 0 h 3708402"/>
              <a:gd name="connsiteX6" fmla="*/ 11807827 w 11807827"/>
              <a:gd name="connsiteY6" fmla="*/ 3708402 h 3708402"/>
              <a:gd name="connsiteX7" fmla="*/ 0 w 11807827"/>
              <a:gd name="connsiteY7" fmla="*/ 3708402 h 3708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3708402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3708402"/>
                </a:lnTo>
                <a:lnTo>
                  <a:pt x="0" y="3708402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425" y="4149080"/>
            <a:ext cx="11233151" cy="5400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424" y="4609880"/>
            <a:ext cx="11233151" cy="119812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6034835"/>
            <a:ext cx="3600000" cy="382497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5" y="6031834"/>
            <a:ext cx="5400000" cy="382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5" name="Logo">
            <a:extLst>
              <a:ext uri="{FF2B5EF4-FFF2-40B4-BE49-F238E27FC236}">
                <a16:creationId xmlns:a16="http://schemas.microsoft.com/office/drawing/2014/main" id="{05907349-0A63-4400-8904-0092523F0C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D68D9D-A71B-4491-8644-B948906D928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4DB9F308-2879-4928-8AEB-8B0BCACC467D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CFEC8-1D53-47C5-ACF7-F4A3F6140C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11916-1B0E-4985-9F06-8277EDF39A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72820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orient="horz" pos="2455">
          <p15:clr>
            <a:srgbClr val="FBAE40"/>
          </p15:clr>
        </p15:guide>
        <p15:guide id="2" pos="302">
          <p15:clr>
            <a:srgbClr val="FBAE40"/>
          </p15:clr>
        </p15:guide>
        <p15:guide id="3" pos="737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black">
            <a:extLst>
              <a:ext uri="{FF2B5EF4-FFF2-40B4-BE49-F238E27FC236}">
                <a16:creationId xmlns:a16="http://schemas.microsoft.com/office/drawing/2014/main" id="{394535D7-EC6F-A21A-4666-A2E7A1FF29A4}"/>
              </a:ext>
            </a:extLst>
          </p:cNvPr>
          <p:cNvSpPr/>
          <p:nvPr userDrawn="1"/>
        </p:nvSpPr>
        <p:spPr>
          <a:xfrm>
            <a:off x="192220" y="189210"/>
            <a:ext cx="11807560" cy="6668791"/>
          </a:xfrm>
          <a:custGeom>
            <a:avLst/>
            <a:gdLst>
              <a:gd name="connsiteX0" fmla="*/ 0 w 11807560"/>
              <a:gd name="connsiteY0" fmla="*/ 6668790 h 6668791"/>
              <a:gd name="connsiteX1" fmla="*/ 11807560 w 11807560"/>
              <a:gd name="connsiteY1" fmla="*/ 6668790 h 6668791"/>
              <a:gd name="connsiteX2" fmla="*/ 11807560 w 11807560"/>
              <a:gd name="connsiteY2" fmla="*/ 6668791 h 6668791"/>
              <a:gd name="connsiteX3" fmla="*/ 0 w 11807560"/>
              <a:gd name="connsiteY3" fmla="*/ 6668791 h 6668791"/>
              <a:gd name="connsiteX4" fmla="*/ 0 w 11807560"/>
              <a:gd name="connsiteY4" fmla="*/ 0 h 6668791"/>
              <a:gd name="connsiteX5" fmla="*/ 11807560 w 11807560"/>
              <a:gd name="connsiteY5" fmla="*/ 0 h 6668791"/>
              <a:gd name="connsiteX6" fmla="*/ 11807560 w 11807560"/>
              <a:gd name="connsiteY6" fmla="*/ 6479581 h 6668791"/>
              <a:gd name="connsiteX7" fmla="*/ 0 w 11807560"/>
              <a:gd name="connsiteY7" fmla="*/ 6479581 h 6668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560" h="6668791">
                <a:moveTo>
                  <a:pt x="0" y="6668790"/>
                </a:moveTo>
                <a:lnTo>
                  <a:pt x="11807560" y="6668790"/>
                </a:lnTo>
                <a:lnTo>
                  <a:pt x="11807560" y="6668791"/>
                </a:lnTo>
                <a:lnTo>
                  <a:pt x="0" y="6668791"/>
                </a:lnTo>
                <a:close/>
                <a:moveTo>
                  <a:pt x="0" y="0"/>
                </a:moveTo>
                <a:lnTo>
                  <a:pt x="11807560" y="0"/>
                </a:lnTo>
                <a:lnTo>
                  <a:pt x="11807560" y="6479581"/>
                </a:lnTo>
                <a:lnTo>
                  <a:pt x="0" y="6479581"/>
                </a:lnTo>
                <a:close/>
              </a:path>
            </a:pathLst>
          </a:cu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 defTabSz="90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 dirty="0" err="1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D13C6B-34CD-4AC1-993E-8BDBB7884FE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CF4C8755-F0F5-4DC3-929B-E6D1C4C6940B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FC0BFC7-788E-4E24-9029-89B78C996E5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4F40694-05EA-49FC-996D-80AC0FAD3B1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42477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6681138-8BDE-4A59-B317-F143904C07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20826"/>
            <a:ext cx="11376025" cy="205263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08B235C7-A324-4329-88AD-6A90AC602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6758724-2774-4003-B210-E8EC4053BE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15984F0E-8AAA-40BD-A9BC-759107E8C15E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B18D2EA-30EC-47FC-A49F-9A4EC99FEC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1B7DB90-8B7C-489D-8168-F01E066FC3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99ED5E01-D7A3-4C00-8B85-854DC5E74FF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86F8EC9E-1AEB-4B13-B233-C5D28F109A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444BCA8-BAAE-45F1-BF20-9C985694BA08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1035675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2251" userDrawn="1">
          <p15:clr>
            <a:srgbClr val="FBAE40"/>
          </p15:clr>
        </p15:guide>
        <p15:guide id="4" orient="horz" pos="958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0F6B8F5-B9AF-44C3-89D8-96E3D5B3B7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3753036"/>
            <a:ext cx="11376025" cy="23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35A8D545-A93C-45AE-904B-B3D2A6DBA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C9E9889-D9B8-4464-90AE-1C5694A443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8F137CC9-6C11-44EB-A556-DDDB3EB15FEE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9D05C85-19A1-4720-A46F-ADB94A001E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C34AA7-56F5-4DFB-BB0A-73487C84C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50CB5D9B-214B-42ED-A44B-ED98105C3A9C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F91FA335-A736-4869-A5F5-27416157CD3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1C3BDA8D-21CF-4C1C-92C8-92B4F9AC146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929379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2364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  <p15:guide id="5" orient="horz" pos="95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4B7171F9-7DA5-4A30-B943-1B7EB8CD53F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9" y="1520826"/>
            <a:ext cx="561657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F174CBBD-5F0D-4FFF-8F95-BF88F43E44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03950" y="1520826"/>
            <a:ext cx="558006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E6B78-D7ED-430E-8E20-CAE06AA09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CCA592D-71D0-4327-ABCD-E620EE710F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20570725-9A47-4AF9-B658-CFAD98E92F0F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AAB68FE-1F4D-466F-8B73-E98C083921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A6B1C62-6525-45D9-8F43-B4254E680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F9B4AFCB-DB45-49B7-B777-4CDF88C0ABB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23D7AA8A-E342-4FD0-BCBD-1470358DADF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A8BA5EE-6B72-40E7-8ED5-DC20CE55704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405683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pos="3795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  <p15:guide id="6" orient="horz" pos="95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1">
            <a:extLst>
              <a:ext uri="{FF2B5EF4-FFF2-40B4-BE49-F238E27FC236}">
                <a16:creationId xmlns:a16="http://schemas.microsoft.com/office/drawing/2014/main" id="{B7CAEDC9-3FCE-450A-8086-C3C7F18E79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04924" y="1520824"/>
            <a:ext cx="367907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1FFD298C-9A50-4D7B-938B-36B0E744507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59263" y="1523205"/>
            <a:ext cx="3672000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F1EF5954-3317-44D7-A8B1-CAE9C63D802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2268" y="1520824"/>
            <a:ext cx="3671999" cy="45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8">
            <a:extLst>
              <a:ext uri="{FF2B5EF4-FFF2-40B4-BE49-F238E27FC236}">
                <a16:creationId xmlns:a16="http://schemas.microsoft.com/office/drawing/2014/main" id="{C525BCE3-0679-47A8-9F40-CCABBDB74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DA6242-2A62-498D-A40B-38E9D6DA479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FC2A11EB-6C22-4B85-8DA1-44C586DC2C2A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5BB03AA-901B-4D1B-962C-C642C71BC2E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31DC0F9-8FFF-4E46-A52F-5510428137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6" name="MIO_LOGOPLACEHOLDER#Logo_16x9" hidden="1">
            <a:extLst>
              <a:ext uri="{FF2B5EF4-FFF2-40B4-BE49-F238E27FC236}">
                <a16:creationId xmlns:a16="http://schemas.microsoft.com/office/drawing/2014/main" id="{8C448D31-1F9D-46B9-8C3D-CE6A70EA0C8E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7" name="Masterfeld-Info-EN">
            <a:extLst>
              <a:ext uri="{FF2B5EF4-FFF2-40B4-BE49-F238E27FC236}">
                <a16:creationId xmlns:a16="http://schemas.microsoft.com/office/drawing/2014/main" id="{63F71440-52CB-414F-B926-8F4ADFC90EE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Info-DE" hidden="1">
            <a:extLst>
              <a:ext uri="{FF2B5EF4-FFF2-40B4-BE49-F238E27FC236}">
                <a16:creationId xmlns:a16="http://schemas.microsoft.com/office/drawing/2014/main" id="{6568D25D-9208-4FF5-9DDC-D50BD8DCEA24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781677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684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4997" userDrawn="1">
          <p15:clr>
            <a:srgbClr val="FBAE40"/>
          </p15:clr>
        </p15:guide>
        <p15:guide id="5" pos="2570" userDrawn="1">
          <p15:clr>
            <a:srgbClr val="FBAE40"/>
          </p15:clr>
        </p15:guide>
        <p15:guide id="6" pos="257" userDrawn="1">
          <p15:clr>
            <a:srgbClr val="FBAE40"/>
          </p15:clr>
        </p15:guide>
        <p15:guide id="7" orient="horz" pos="3838" userDrawn="1">
          <p15:clr>
            <a:srgbClr val="FBAE40"/>
          </p15:clr>
        </p15:guide>
        <p15:guide id="8" orient="horz" pos="95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3BC0F0D8-9FF5-4203-B448-39BAF7EAAC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20825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9C105228-F1CC-4FBD-A39D-54C96A5AE7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3950" y="1520825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7D80BD4F-7884-47C7-A491-DDF6970D8D0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7988" y="3898800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6" name="Inhaltsplatzhalter 4">
            <a:extLst>
              <a:ext uri="{FF2B5EF4-FFF2-40B4-BE49-F238E27FC236}">
                <a16:creationId xmlns:a16="http://schemas.microsoft.com/office/drawing/2014/main" id="{43501644-F383-4B53-B31C-362D1CCDBB0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3950" y="3898800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38842B77-A3FA-4B92-A31A-0DF1B28CB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43BA914-5104-45EC-B47B-AF6860250B7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D0537F30-7D93-4DCB-955F-8538B3BC0F85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B45B8B6-642B-4F83-911A-02F584B972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DE9945D-4C35-4C6B-907F-8412ED727B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4" name="MIO_LOGOPLACEHOLDER#Logo_16x9" hidden="1">
            <a:extLst>
              <a:ext uri="{FF2B5EF4-FFF2-40B4-BE49-F238E27FC236}">
                <a16:creationId xmlns:a16="http://schemas.microsoft.com/office/drawing/2014/main" id="{AE83C1C4-2440-4C35-8A90-849EB54D0C9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5" name="Masterfeld-Info-EN">
            <a:extLst>
              <a:ext uri="{FF2B5EF4-FFF2-40B4-BE49-F238E27FC236}">
                <a16:creationId xmlns:a16="http://schemas.microsoft.com/office/drawing/2014/main" id="{A4F32111-9F5F-47D1-8FA5-15FB4F65DC6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Info-DE" hidden="1">
            <a:extLst>
              <a:ext uri="{FF2B5EF4-FFF2-40B4-BE49-F238E27FC236}">
                <a16:creationId xmlns:a16="http://schemas.microsoft.com/office/drawing/2014/main" id="{A565A0D1-29C1-4751-A3DE-B8D9766B712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343998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379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7423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orient="horz" pos="2341" userDrawn="1">
          <p15:clr>
            <a:srgbClr val="FBAE40"/>
          </p15:clr>
        </p15:guide>
        <p15:guide id="6" orient="horz" pos="957" userDrawn="1">
          <p15:clr>
            <a:srgbClr val="FBAE40"/>
          </p15:clr>
        </p15:guide>
        <p15:guide id="7" orient="horz" pos="2455" userDrawn="1">
          <p15:clr>
            <a:srgbClr val="FBAE40"/>
          </p15:clr>
        </p15:guide>
        <p15:guide id="8" orient="horz" pos="383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FAD41F3-0F53-498D-8891-916DD8545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8ACFDD-4D38-4202-BFBE-60DDC8B3A479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4DE63F-CE96-406B-8AA0-D15BA990C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D0E597A-3526-48A9-A062-D5CA87A44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917071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grey">
            <a:extLst>
              <a:ext uri="{FF2B5EF4-FFF2-40B4-BE49-F238E27FC236}">
                <a16:creationId xmlns:a16="http://schemas.microsoft.com/office/drawing/2014/main" id="{3B7F7651-7C91-BC9F-2BED-66FE5133575B}"/>
              </a:ext>
            </a:extLst>
          </p:cNvPr>
          <p:cNvSpPr/>
          <p:nvPr userDrawn="1"/>
        </p:nvSpPr>
        <p:spPr>
          <a:xfrm>
            <a:off x="192220" y="189210"/>
            <a:ext cx="11807560" cy="6668791"/>
          </a:xfrm>
          <a:custGeom>
            <a:avLst/>
            <a:gdLst>
              <a:gd name="connsiteX0" fmla="*/ 0 w 11807560"/>
              <a:gd name="connsiteY0" fmla="*/ 6668790 h 6668791"/>
              <a:gd name="connsiteX1" fmla="*/ 11807560 w 11807560"/>
              <a:gd name="connsiteY1" fmla="*/ 6668790 h 6668791"/>
              <a:gd name="connsiteX2" fmla="*/ 11807560 w 11807560"/>
              <a:gd name="connsiteY2" fmla="*/ 6668791 h 6668791"/>
              <a:gd name="connsiteX3" fmla="*/ 0 w 11807560"/>
              <a:gd name="connsiteY3" fmla="*/ 6668791 h 6668791"/>
              <a:gd name="connsiteX4" fmla="*/ 0 w 11807560"/>
              <a:gd name="connsiteY4" fmla="*/ 0 h 6668791"/>
              <a:gd name="connsiteX5" fmla="*/ 11807560 w 11807560"/>
              <a:gd name="connsiteY5" fmla="*/ 0 h 6668791"/>
              <a:gd name="connsiteX6" fmla="*/ 11807560 w 11807560"/>
              <a:gd name="connsiteY6" fmla="*/ 6479581 h 6668791"/>
              <a:gd name="connsiteX7" fmla="*/ 0 w 11807560"/>
              <a:gd name="connsiteY7" fmla="*/ 6479581 h 6668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560" h="6668791">
                <a:moveTo>
                  <a:pt x="0" y="6668790"/>
                </a:moveTo>
                <a:lnTo>
                  <a:pt x="11807560" y="6668790"/>
                </a:lnTo>
                <a:lnTo>
                  <a:pt x="11807560" y="6668791"/>
                </a:lnTo>
                <a:lnTo>
                  <a:pt x="0" y="6668791"/>
                </a:lnTo>
                <a:close/>
                <a:moveTo>
                  <a:pt x="0" y="0"/>
                </a:moveTo>
                <a:lnTo>
                  <a:pt x="11807560" y="0"/>
                </a:lnTo>
                <a:lnTo>
                  <a:pt x="11807560" y="6479581"/>
                </a:lnTo>
                <a:lnTo>
                  <a:pt x="0" y="6479581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 defTabSz="90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 dirty="0" err="1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:a16="http://schemas.microsoft.com/office/drawing/2014/main" id="{AD2F50D5-5FAE-CA2D-5B45-64D15BB224E0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LOGO">
            <a:extLst>
              <a:ext uri="{FF2B5EF4-FFF2-40B4-BE49-F238E27FC236}">
                <a16:creationId xmlns:a16="http://schemas.microsoft.com/office/drawing/2014/main" id="{E6393C4A-7507-9D13-AC35-F168E7ACDCC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5FFC57-6077-4AEA-8BDB-9C82DDC3C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57ABBCD-A906-4659-86C0-FE78D5B0E2E3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B69130-6EA9-4EBA-9D05-9A378F78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EC34FCF-8B3A-4505-9567-B2E672102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6019544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6CA0499-F19D-406D-B321-383D04CA1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8A8E22-6597-4930-A1D3-26523D268447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A9B86F-88DC-4014-B48D-C9E776E6F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85D8B5-A468-406C-971C-66C2C9FE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MIO_LOGOPLACEHOLDER#Logo_16x9" hidden="1">
            <a:extLst>
              <a:ext uri="{FF2B5EF4-FFF2-40B4-BE49-F238E27FC236}">
                <a16:creationId xmlns:a16="http://schemas.microsoft.com/office/drawing/2014/main" id="{B00BF2E9-B74D-4FDD-95DE-38211AF3D5FF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3" name="Masterfeld-Info-EN">
            <a:extLst>
              <a:ext uri="{FF2B5EF4-FFF2-40B4-BE49-F238E27FC236}">
                <a16:creationId xmlns:a16="http://schemas.microsoft.com/office/drawing/2014/main" id="{6BAB1632-9C6F-4747-8F5E-BBC921261A6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Masterfeld-Info-DE" hidden="1">
            <a:extLst>
              <a:ext uri="{FF2B5EF4-FFF2-40B4-BE49-F238E27FC236}">
                <a16:creationId xmlns:a16="http://schemas.microsoft.com/office/drawing/2014/main" id="{A39E4CF0-29B6-43FF-86DF-891652331A3F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6936676"/>
      </p:ext>
    </p:extLst>
  </p:cSld>
  <p:clrMapOvr>
    <a:masterClrMapping/>
  </p:clrMapOvr>
  <p:transition>
    <p:fade/>
  </p:transition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grey">
            <a:extLst>
              <a:ext uri="{FF2B5EF4-FFF2-40B4-BE49-F238E27FC236}">
                <a16:creationId xmlns:a16="http://schemas.microsoft.com/office/drawing/2014/main" id="{85A13B21-24F5-BBE8-5AF4-108CCCFE05EC}"/>
              </a:ext>
            </a:extLst>
          </p:cNvPr>
          <p:cNvSpPr/>
          <p:nvPr userDrawn="1"/>
        </p:nvSpPr>
        <p:spPr>
          <a:xfrm>
            <a:off x="192220" y="189210"/>
            <a:ext cx="11807560" cy="6668791"/>
          </a:xfrm>
          <a:custGeom>
            <a:avLst/>
            <a:gdLst>
              <a:gd name="connsiteX0" fmla="*/ 0 w 11807560"/>
              <a:gd name="connsiteY0" fmla="*/ 6668790 h 6668791"/>
              <a:gd name="connsiteX1" fmla="*/ 11807560 w 11807560"/>
              <a:gd name="connsiteY1" fmla="*/ 6668790 h 6668791"/>
              <a:gd name="connsiteX2" fmla="*/ 11807560 w 11807560"/>
              <a:gd name="connsiteY2" fmla="*/ 6668791 h 6668791"/>
              <a:gd name="connsiteX3" fmla="*/ 0 w 11807560"/>
              <a:gd name="connsiteY3" fmla="*/ 6668791 h 6668791"/>
              <a:gd name="connsiteX4" fmla="*/ 0 w 11807560"/>
              <a:gd name="connsiteY4" fmla="*/ 0 h 6668791"/>
              <a:gd name="connsiteX5" fmla="*/ 11807560 w 11807560"/>
              <a:gd name="connsiteY5" fmla="*/ 0 h 6668791"/>
              <a:gd name="connsiteX6" fmla="*/ 11807560 w 11807560"/>
              <a:gd name="connsiteY6" fmla="*/ 6479581 h 6668791"/>
              <a:gd name="connsiteX7" fmla="*/ 0 w 11807560"/>
              <a:gd name="connsiteY7" fmla="*/ 6479581 h 6668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560" h="6668791">
                <a:moveTo>
                  <a:pt x="0" y="6668790"/>
                </a:moveTo>
                <a:lnTo>
                  <a:pt x="11807560" y="6668790"/>
                </a:lnTo>
                <a:lnTo>
                  <a:pt x="11807560" y="6668791"/>
                </a:lnTo>
                <a:lnTo>
                  <a:pt x="0" y="6668791"/>
                </a:lnTo>
                <a:close/>
                <a:moveTo>
                  <a:pt x="0" y="0"/>
                </a:moveTo>
                <a:lnTo>
                  <a:pt x="11807560" y="0"/>
                </a:lnTo>
                <a:lnTo>
                  <a:pt x="11807560" y="6479581"/>
                </a:lnTo>
                <a:lnTo>
                  <a:pt x="0" y="6479581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 defTabSz="90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 dirty="0" err="1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A9946D1-1433-410B-A659-FFBB2ADD370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>
                <a:noFill/>
              </a:defRPr>
            </a:lvl1pPr>
          </a:lstStyle>
          <a:p>
            <a:fld id="{ADACA6D9-D9BC-4D10-990D-0B01F9ED3D27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136E60E0-EECE-4435-B4C9-C30E084313F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>
                <a:noFill/>
              </a:defRPr>
            </a:lvl1pPr>
          </a:lstStyle>
          <a:p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40D984B-70ED-4F74-920D-79E213FF4910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BF5D74A2-C7F1-48E8-B7B4-2B0BF866C16F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8635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(big pictur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">
            <a:extLst>
              <a:ext uri="{FF2B5EF4-FFF2-40B4-BE49-F238E27FC236}">
                <a16:creationId xmlns:a16="http://schemas.microsoft.com/office/drawing/2014/main" id="{A4B97A2A-43FB-4C25-9F31-E5E3A50C29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92088" y="188911"/>
            <a:ext cx="11807827" cy="6480178"/>
          </a:xfrm>
          <a:custGeom>
            <a:avLst/>
            <a:gdLst>
              <a:gd name="connsiteX0" fmla="*/ 0 w 11807827"/>
              <a:gd name="connsiteY0" fmla="*/ 0 h 6480178"/>
              <a:gd name="connsiteX1" fmla="*/ 288941 w 11807827"/>
              <a:gd name="connsiteY1" fmla="*/ 0 h 6480178"/>
              <a:gd name="connsiteX2" fmla="*/ 288941 w 11807827"/>
              <a:gd name="connsiteY2" fmla="*/ 1058993 h 6480178"/>
              <a:gd name="connsiteX3" fmla="*/ 2752882 w 11807827"/>
              <a:gd name="connsiteY3" fmla="*/ 1058993 h 6480178"/>
              <a:gd name="connsiteX4" fmla="*/ 2752882 w 11807827"/>
              <a:gd name="connsiteY4" fmla="*/ 0 h 6480178"/>
              <a:gd name="connsiteX5" fmla="*/ 11807827 w 11807827"/>
              <a:gd name="connsiteY5" fmla="*/ 0 h 6480178"/>
              <a:gd name="connsiteX6" fmla="*/ 11807827 w 11807827"/>
              <a:gd name="connsiteY6" fmla="*/ 6480178 h 6480178"/>
              <a:gd name="connsiteX7" fmla="*/ 0 w 11807827"/>
              <a:gd name="connsiteY7" fmla="*/ 6480178 h 648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6480178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6480178"/>
                </a:lnTo>
                <a:lnTo>
                  <a:pt x="0" y="6480178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030" y="4147200"/>
            <a:ext cx="11233545" cy="54188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81030" y="4609880"/>
            <a:ext cx="11230828" cy="112337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81030" y="6031834"/>
            <a:ext cx="3597789" cy="385498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i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6" y="6031834"/>
            <a:ext cx="5400000" cy="385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0" name="Logo">
            <a:extLst>
              <a:ext uri="{FF2B5EF4-FFF2-40B4-BE49-F238E27FC236}">
                <a16:creationId xmlns:a16="http://schemas.microsoft.com/office/drawing/2014/main" id="{D9D5C7E9-EB80-4167-82F4-B577553CDF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54A713B-EAFD-4F77-90C2-3995E569BD6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91ECF4D-BAF3-42D8-9B76-E8229CB11E3C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BE6876-3879-4117-8C56-8BE3DC75BA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12093F9-0D54-4B44-914A-4187B3C5AD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77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0D9A1354-DE88-430B-95CE-0A0E34F090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2088" y="188911"/>
            <a:ext cx="11807827" cy="648017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5948588-E55D-4D65-ABDF-CE08CF90CF2A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CF29B090-D6CA-48AB-A447-E68B522A30DE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4F99E46-1DC1-4624-84C8-5F6964FF18A1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4ACE75A-37F6-4776-A458-F2A0887B9919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230861"/>
      </p:ext>
    </p:extLst>
  </p:cSld>
  <p:clrMapOvr>
    <a:masterClrMapping/>
  </p:clrMapOvr>
  <p:transition>
    <p:fade/>
  </p:transition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white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192088" y="188913"/>
            <a:ext cx="11807825" cy="64801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77F38C49-D815-4386-B542-AB1FE19DE431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76DFA53-C115-4C27-AAB1-B1BD38BC3B2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28FE4466-D802-43EB-838F-81ED921F8B80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B37DD6-747B-42BB-89A7-DEEA243E70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DFDFC4-6AB9-476C-85C8-5E032E9D369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05153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9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16EF78-F960-4DDD-A05D-51C3ED2FA98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D0D532CD-FFF2-4AE7-BD12-5188CBEB0ABC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D2BCFF-0EDC-4A2A-B941-89F9DCF5DD5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81BA31-D102-465D-A1EA-1F0EAFD0EE0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SHAPE white">
            <a:extLst>
              <a:ext uri="{FF2B5EF4-FFF2-40B4-BE49-F238E27FC236}">
                <a16:creationId xmlns:a16="http://schemas.microsoft.com/office/drawing/2014/main" id="{97C9AE5E-DE44-6B35-859B-E1B82CB897A2}"/>
              </a:ext>
            </a:extLst>
          </p:cNvPr>
          <p:cNvSpPr/>
          <p:nvPr userDrawn="1"/>
        </p:nvSpPr>
        <p:spPr>
          <a:xfrm>
            <a:off x="192088" y="6031835"/>
            <a:ext cx="11807824" cy="6281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323507"/>
      </p:ext>
    </p:extLst>
  </p:cSld>
  <p:clrMapOvr>
    <a:masterClrMapping/>
  </p:clrMapOvr>
  <p:transition>
    <p:fade/>
  </p:transition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orange">
            <a:extLst>
              <a:ext uri="{FF2B5EF4-FFF2-40B4-BE49-F238E27FC236}">
                <a16:creationId xmlns:a16="http://schemas.microsoft.com/office/drawing/2014/main" id="{E1141528-B762-3A43-7036-B4071CE4B61F}"/>
              </a:ext>
            </a:extLst>
          </p:cNvPr>
          <p:cNvSpPr/>
          <p:nvPr userDrawn="1"/>
        </p:nvSpPr>
        <p:spPr>
          <a:xfrm>
            <a:off x="192220" y="189210"/>
            <a:ext cx="11807560" cy="6668791"/>
          </a:xfrm>
          <a:custGeom>
            <a:avLst/>
            <a:gdLst>
              <a:gd name="connsiteX0" fmla="*/ 0 w 11807560"/>
              <a:gd name="connsiteY0" fmla="*/ 6668790 h 6668791"/>
              <a:gd name="connsiteX1" fmla="*/ 11807560 w 11807560"/>
              <a:gd name="connsiteY1" fmla="*/ 6668790 h 6668791"/>
              <a:gd name="connsiteX2" fmla="*/ 11807560 w 11807560"/>
              <a:gd name="connsiteY2" fmla="*/ 6668791 h 6668791"/>
              <a:gd name="connsiteX3" fmla="*/ 0 w 11807560"/>
              <a:gd name="connsiteY3" fmla="*/ 6668791 h 6668791"/>
              <a:gd name="connsiteX4" fmla="*/ 0 w 11807560"/>
              <a:gd name="connsiteY4" fmla="*/ 0 h 6668791"/>
              <a:gd name="connsiteX5" fmla="*/ 11807560 w 11807560"/>
              <a:gd name="connsiteY5" fmla="*/ 0 h 6668791"/>
              <a:gd name="connsiteX6" fmla="*/ 11807560 w 11807560"/>
              <a:gd name="connsiteY6" fmla="*/ 6479581 h 6668791"/>
              <a:gd name="connsiteX7" fmla="*/ 0 w 11807560"/>
              <a:gd name="connsiteY7" fmla="*/ 6479581 h 6668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560" h="6668791">
                <a:moveTo>
                  <a:pt x="0" y="6668790"/>
                </a:moveTo>
                <a:lnTo>
                  <a:pt x="11807560" y="6668790"/>
                </a:lnTo>
                <a:lnTo>
                  <a:pt x="11807560" y="6668791"/>
                </a:lnTo>
                <a:lnTo>
                  <a:pt x="0" y="6668791"/>
                </a:lnTo>
                <a:close/>
                <a:moveTo>
                  <a:pt x="0" y="0"/>
                </a:moveTo>
                <a:lnTo>
                  <a:pt x="11807560" y="0"/>
                </a:lnTo>
                <a:lnTo>
                  <a:pt x="11807560" y="6479581"/>
                </a:lnTo>
                <a:lnTo>
                  <a:pt x="0" y="647958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 defTabSz="90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 dirty="0" err="1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:a16="http://schemas.microsoft.com/office/drawing/2014/main" id="{FE448DAA-EF39-D75E-5D98-C6164B7F5F1E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LOGO">
            <a:extLst>
              <a:ext uri="{FF2B5EF4-FFF2-40B4-BE49-F238E27FC236}">
                <a16:creationId xmlns:a16="http://schemas.microsoft.com/office/drawing/2014/main" id="{EE667E45-B0BF-8D5B-ABD2-889ADDABC79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4" y="3009600"/>
            <a:ext cx="11375973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4" y="2107200"/>
            <a:ext cx="11375973" cy="96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7E0B444-4054-4052-A13B-B11BD7B30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1B8982D-9982-40CD-8FC7-960592DC10D3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FCE1938-7EEC-44F3-969E-567467A0B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BA81E4B-02C4-44F7-B1C3-423E7A818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5851F18-0C9E-4DD0-B776-B4E60644EFE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D9408A6E-02FF-4400-956C-1FF1870921A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5424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933" userDrawn="1">
          <p15:clr>
            <a:srgbClr val="FBAE40"/>
          </p15:clr>
        </p15:guide>
        <p15:guide id="4" orient="horz" pos="3498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7988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tx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7988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E35D26-FC61-4045-940E-5F22C3676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97C5A508-B462-46BB-8CE3-9E1BAD36E18C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A51F85F-C28C-489B-B9EA-96BDEC009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F9E5F00-FA59-4081-9CF3-90733688F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Masterfeld-Info-EN">
            <a:extLst>
              <a:ext uri="{FF2B5EF4-FFF2-40B4-BE49-F238E27FC236}">
                <a16:creationId xmlns:a16="http://schemas.microsoft.com/office/drawing/2014/main" id="{7D1AE2D1-92EA-4E37-8A5F-F31ED6BED78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2B836A30-9063-4E81-90C3-717FA2E9D66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1022550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3499" userDrawn="1">
          <p15:clr>
            <a:srgbClr val="FBAE40"/>
          </p15:clr>
        </p15:guide>
        <p15:guide id="4" orient="horz" pos="1933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black">
            <a:extLst>
              <a:ext uri="{FF2B5EF4-FFF2-40B4-BE49-F238E27FC236}">
                <a16:creationId xmlns:a16="http://schemas.microsoft.com/office/drawing/2014/main" id="{09BD5723-1A18-D096-2E08-50D8796AC73C}"/>
              </a:ext>
            </a:extLst>
          </p:cNvPr>
          <p:cNvSpPr/>
          <p:nvPr userDrawn="1"/>
        </p:nvSpPr>
        <p:spPr>
          <a:xfrm>
            <a:off x="192220" y="189210"/>
            <a:ext cx="11807560" cy="6668791"/>
          </a:xfrm>
          <a:custGeom>
            <a:avLst/>
            <a:gdLst>
              <a:gd name="connsiteX0" fmla="*/ 0 w 11807560"/>
              <a:gd name="connsiteY0" fmla="*/ 6668790 h 6668791"/>
              <a:gd name="connsiteX1" fmla="*/ 11807560 w 11807560"/>
              <a:gd name="connsiteY1" fmla="*/ 6668790 h 6668791"/>
              <a:gd name="connsiteX2" fmla="*/ 11807560 w 11807560"/>
              <a:gd name="connsiteY2" fmla="*/ 6668791 h 6668791"/>
              <a:gd name="connsiteX3" fmla="*/ 0 w 11807560"/>
              <a:gd name="connsiteY3" fmla="*/ 6668791 h 6668791"/>
              <a:gd name="connsiteX4" fmla="*/ 0 w 11807560"/>
              <a:gd name="connsiteY4" fmla="*/ 0 h 6668791"/>
              <a:gd name="connsiteX5" fmla="*/ 11807560 w 11807560"/>
              <a:gd name="connsiteY5" fmla="*/ 0 h 6668791"/>
              <a:gd name="connsiteX6" fmla="*/ 11807560 w 11807560"/>
              <a:gd name="connsiteY6" fmla="*/ 6479581 h 6668791"/>
              <a:gd name="connsiteX7" fmla="*/ 0 w 11807560"/>
              <a:gd name="connsiteY7" fmla="*/ 6479581 h 6668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560" h="6668791">
                <a:moveTo>
                  <a:pt x="0" y="6668790"/>
                </a:moveTo>
                <a:lnTo>
                  <a:pt x="11807560" y="6668790"/>
                </a:lnTo>
                <a:lnTo>
                  <a:pt x="11807560" y="6668791"/>
                </a:lnTo>
                <a:lnTo>
                  <a:pt x="0" y="6668791"/>
                </a:lnTo>
                <a:close/>
                <a:moveTo>
                  <a:pt x="0" y="0"/>
                </a:moveTo>
                <a:lnTo>
                  <a:pt x="11807560" y="0"/>
                </a:lnTo>
                <a:lnTo>
                  <a:pt x="11807560" y="6479581"/>
                </a:lnTo>
                <a:lnTo>
                  <a:pt x="0" y="6479581"/>
                </a:lnTo>
                <a:close/>
              </a:path>
            </a:pathLst>
          </a:cu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 defTabSz="90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 dirty="0" err="1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:a16="http://schemas.microsoft.com/office/drawing/2014/main" id="{B7AEBE0D-F9F4-136D-5A56-35BFFAF50E37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LOGO">
            <a:extLst>
              <a:ext uri="{FF2B5EF4-FFF2-40B4-BE49-F238E27FC236}">
                <a16:creationId xmlns:a16="http://schemas.microsoft.com/office/drawing/2014/main" id="{F56D9FD0-5C39-8C97-8C48-B38069A87FF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2459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4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4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5AAEF45-A137-434D-A4B8-D75B64393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0920100-CF9D-4AB0-B52A-6FCCF7122348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FC364D-AEFA-4E82-9B96-40B90A5D9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30359B-EF64-4358-BE91-00C2D4398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BC6F472-70FC-455A-BA0A-031497632A2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08D8DE0F-7017-4D43-8BC5-1316FA5C0AA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4301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933" userDrawn="1">
          <p15:clr>
            <a:srgbClr val="FBAE40"/>
          </p15:clr>
        </p15:guide>
        <p15:guide id="4" orient="horz" pos="349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white">
            <a:extLst>
              <a:ext uri="{FF2B5EF4-FFF2-40B4-BE49-F238E27FC236}">
                <a16:creationId xmlns:a16="http://schemas.microsoft.com/office/drawing/2014/main" id="{3C0BE922-DB7D-7182-07AF-B3EF03D1F6E5}"/>
              </a:ext>
            </a:extLst>
          </p:cNvPr>
          <p:cNvSpPr/>
          <p:nvPr userDrawn="1"/>
        </p:nvSpPr>
        <p:spPr>
          <a:xfrm>
            <a:off x="192088" y="6031835"/>
            <a:ext cx="11807824" cy="6281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031" y="3236780"/>
            <a:ext cx="11232000" cy="540001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031" y="3697581"/>
            <a:ext cx="11232000" cy="120112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030" y="6031834"/>
            <a:ext cx="3600000" cy="385498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5" y="6031834"/>
            <a:ext cx="5399283" cy="385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3C45320A-E2BA-4297-B66E-E5C7FA6E78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3C9D60D-44C9-404B-93EA-CEC194B41EC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5E3DD054-92B3-423C-9FFE-12727C522F9F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D7C770-1069-4A7C-98B9-BDBADCCAC3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7DA81-EAC7-4105-BC74-1FBC72D015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76630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orang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orange">
            <a:extLst>
              <a:ext uri="{FF2B5EF4-FFF2-40B4-BE49-F238E27FC236}">
                <a16:creationId xmlns:a16="http://schemas.microsoft.com/office/drawing/2014/main" id="{82938696-5548-A24B-10C2-55C74FCF7328}"/>
              </a:ext>
            </a:extLst>
          </p:cNvPr>
          <p:cNvSpPr/>
          <p:nvPr userDrawn="1"/>
        </p:nvSpPr>
        <p:spPr>
          <a:xfrm>
            <a:off x="192220" y="189210"/>
            <a:ext cx="11807560" cy="6668791"/>
          </a:xfrm>
          <a:custGeom>
            <a:avLst/>
            <a:gdLst>
              <a:gd name="connsiteX0" fmla="*/ 0 w 11807560"/>
              <a:gd name="connsiteY0" fmla="*/ 6668790 h 6668791"/>
              <a:gd name="connsiteX1" fmla="*/ 11807560 w 11807560"/>
              <a:gd name="connsiteY1" fmla="*/ 6668790 h 6668791"/>
              <a:gd name="connsiteX2" fmla="*/ 11807560 w 11807560"/>
              <a:gd name="connsiteY2" fmla="*/ 6668791 h 6668791"/>
              <a:gd name="connsiteX3" fmla="*/ 0 w 11807560"/>
              <a:gd name="connsiteY3" fmla="*/ 6668791 h 6668791"/>
              <a:gd name="connsiteX4" fmla="*/ 0 w 11807560"/>
              <a:gd name="connsiteY4" fmla="*/ 0 h 6668791"/>
              <a:gd name="connsiteX5" fmla="*/ 11807560 w 11807560"/>
              <a:gd name="connsiteY5" fmla="*/ 0 h 6668791"/>
              <a:gd name="connsiteX6" fmla="*/ 11807560 w 11807560"/>
              <a:gd name="connsiteY6" fmla="*/ 6479581 h 6668791"/>
              <a:gd name="connsiteX7" fmla="*/ 0 w 11807560"/>
              <a:gd name="connsiteY7" fmla="*/ 6479581 h 6668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560" h="6668791">
                <a:moveTo>
                  <a:pt x="0" y="6668790"/>
                </a:moveTo>
                <a:lnTo>
                  <a:pt x="11807560" y="6668790"/>
                </a:lnTo>
                <a:lnTo>
                  <a:pt x="11807560" y="6668791"/>
                </a:lnTo>
                <a:lnTo>
                  <a:pt x="0" y="6668791"/>
                </a:lnTo>
                <a:close/>
                <a:moveTo>
                  <a:pt x="0" y="0"/>
                </a:moveTo>
                <a:lnTo>
                  <a:pt x="11807560" y="0"/>
                </a:lnTo>
                <a:lnTo>
                  <a:pt x="11807560" y="6479581"/>
                </a:lnTo>
                <a:lnTo>
                  <a:pt x="0" y="647958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 defTabSz="90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 dirty="0" err="1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cxnSp>
        <p:nvCxnSpPr>
          <p:cNvPr id="3" name="LINE">
            <a:extLst>
              <a:ext uri="{FF2B5EF4-FFF2-40B4-BE49-F238E27FC236}">
                <a16:creationId xmlns:a16="http://schemas.microsoft.com/office/drawing/2014/main" id="{FBC76E5F-EAFC-F404-0C12-67600C48A35D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LOGO">
            <a:extLst>
              <a:ext uri="{FF2B5EF4-FFF2-40B4-BE49-F238E27FC236}">
                <a16:creationId xmlns:a16="http://schemas.microsoft.com/office/drawing/2014/main" id="{1C09B27F-8BF5-4652-B0A7-68636C1D475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50BA2E4-AA81-4E1F-A271-8D38B04809F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 7">
            <a:extLst>
              <a:ext uri="{FF2B5EF4-FFF2-40B4-BE49-F238E27FC236}">
                <a16:creationId xmlns:a16="http://schemas.microsoft.com/office/drawing/2014/main" id="{ABA3C9F2-E253-421F-945D-D68861922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8242E24-BED6-488F-89AD-B05C9CBDF5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D0BF2A19-6D5E-4933-9477-A295E821249D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9A66109-FA20-48C9-8114-DD7A725FE2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5069DFF-5F42-4A6C-9AE0-FCC1F26621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36AB968B-E423-45A9-BCC2-8AD32505936A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20" name="Masterfeld-Info-EN">
            <a:extLst>
              <a:ext uri="{FF2B5EF4-FFF2-40B4-BE49-F238E27FC236}">
                <a16:creationId xmlns:a16="http://schemas.microsoft.com/office/drawing/2014/main" id="{71443D15-BEDB-40DE-94E4-DAC71EB6616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Info-DE" hidden="1">
            <a:extLst>
              <a:ext uri="{FF2B5EF4-FFF2-40B4-BE49-F238E27FC236}">
                <a16:creationId xmlns:a16="http://schemas.microsoft.com/office/drawing/2014/main" id="{8C6396D6-849A-4ABC-8DBD-C38E1845BAAB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39897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CC22E2-F21B-4290-B56B-022F9C2C4E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4BF22C9-D6A5-468E-A800-73C4FB597EF9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898C5E-943F-4EF0-A433-E752FF2A5D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5EB725-AAD5-4A3E-84A9-A9B8DA2644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32F9D74A-FBE0-425D-9642-995123835A7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E788FAB4-76CB-4C6D-B621-6A743E02A41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F7E1ACF2-8A1B-4DB6-BE92-3D6012F45AA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632238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7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blac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black">
            <a:extLst>
              <a:ext uri="{FF2B5EF4-FFF2-40B4-BE49-F238E27FC236}">
                <a16:creationId xmlns:a16="http://schemas.microsoft.com/office/drawing/2014/main" id="{B9DA7F1F-B974-F0C0-585B-10AC8F02ED89}"/>
              </a:ext>
            </a:extLst>
          </p:cNvPr>
          <p:cNvSpPr/>
          <p:nvPr userDrawn="1"/>
        </p:nvSpPr>
        <p:spPr>
          <a:xfrm>
            <a:off x="192220" y="189210"/>
            <a:ext cx="11807560" cy="6668791"/>
          </a:xfrm>
          <a:custGeom>
            <a:avLst/>
            <a:gdLst>
              <a:gd name="connsiteX0" fmla="*/ 0 w 11807560"/>
              <a:gd name="connsiteY0" fmla="*/ 6668790 h 6668791"/>
              <a:gd name="connsiteX1" fmla="*/ 11807560 w 11807560"/>
              <a:gd name="connsiteY1" fmla="*/ 6668790 h 6668791"/>
              <a:gd name="connsiteX2" fmla="*/ 11807560 w 11807560"/>
              <a:gd name="connsiteY2" fmla="*/ 6668791 h 6668791"/>
              <a:gd name="connsiteX3" fmla="*/ 0 w 11807560"/>
              <a:gd name="connsiteY3" fmla="*/ 6668791 h 6668791"/>
              <a:gd name="connsiteX4" fmla="*/ 0 w 11807560"/>
              <a:gd name="connsiteY4" fmla="*/ 0 h 6668791"/>
              <a:gd name="connsiteX5" fmla="*/ 11807560 w 11807560"/>
              <a:gd name="connsiteY5" fmla="*/ 0 h 6668791"/>
              <a:gd name="connsiteX6" fmla="*/ 11807560 w 11807560"/>
              <a:gd name="connsiteY6" fmla="*/ 6479581 h 6668791"/>
              <a:gd name="connsiteX7" fmla="*/ 0 w 11807560"/>
              <a:gd name="connsiteY7" fmla="*/ 6479581 h 6668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560" h="6668791">
                <a:moveTo>
                  <a:pt x="0" y="6668790"/>
                </a:moveTo>
                <a:lnTo>
                  <a:pt x="11807560" y="6668790"/>
                </a:lnTo>
                <a:lnTo>
                  <a:pt x="11807560" y="6668791"/>
                </a:lnTo>
                <a:lnTo>
                  <a:pt x="0" y="6668791"/>
                </a:lnTo>
                <a:close/>
                <a:moveTo>
                  <a:pt x="0" y="0"/>
                </a:moveTo>
                <a:lnTo>
                  <a:pt x="11807560" y="0"/>
                </a:lnTo>
                <a:lnTo>
                  <a:pt x="11807560" y="6479581"/>
                </a:lnTo>
                <a:lnTo>
                  <a:pt x="0" y="6479581"/>
                </a:lnTo>
                <a:close/>
              </a:path>
            </a:pathLst>
          </a:cu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 defTabSz="90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 dirty="0" err="1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cxnSp>
        <p:nvCxnSpPr>
          <p:cNvPr id="3" name="LINE">
            <a:extLst>
              <a:ext uri="{FF2B5EF4-FFF2-40B4-BE49-F238E27FC236}">
                <a16:creationId xmlns:a16="http://schemas.microsoft.com/office/drawing/2014/main" id="{CD91E7BF-D2E7-8CF1-F36D-67C2FE91345E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LOGO">
            <a:extLst>
              <a:ext uri="{FF2B5EF4-FFF2-40B4-BE49-F238E27FC236}">
                <a16:creationId xmlns:a16="http://schemas.microsoft.com/office/drawing/2014/main" id="{7C49BEB5-14EE-B031-64FE-32DE020343D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2459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BCD1A06E-AAB2-4C3E-A402-65E534D6F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5251EB-B21B-4850-B76F-AAD6E6E60C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E9A42A0-1A19-435A-8B47-386CD8F86E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194E920A-2D48-43CA-8667-45444A267BC8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8F3E12-F1E2-43C8-A3EB-23A8F53F44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D80B8F5-B54A-4617-A5A1-FD174C20F1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B5313518-8381-4EBE-B966-3FB299AE889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9B678141-DCD3-441A-A4B8-97BA49CB00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F20B2B3D-1480-4E51-9E7D-83FE04DAC37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64494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9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grey">
            <a:extLst>
              <a:ext uri="{FF2B5EF4-FFF2-40B4-BE49-F238E27FC236}">
                <a16:creationId xmlns:a16="http://schemas.microsoft.com/office/drawing/2014/main" id="{144B6149-12FC-4FC3-57CB-D8F0DF0EE1F0}"/>
              </a:ext>
            </a:extLst>
          </p:cNvPr>
          <p:cNvSpPr/>
          <p:nvPr userDrawn="1"/>
        </p:nvSpPr>
        <p:spPr>
          <a:xfrm>
            <a:off x="192220" y="189210"/>
            <a:ext cx="11807560" cy="6668791"/>
          </a:xfrm>
          <a:custGeom>
            <a:avLst/>
            <a:gdLst>
              <a:gd name="connsiteX0" fmla="*/ 0 w 11807560"/>
              <a:gd name="connsiteY0" fmla="*/ 6668790 h 6668791"/>
              <a:gd name="connsiteX1" fmla="*/ 11807560 w 11807560"/>
              <a:gd name="connsiteY1" fmla="*/ 6668790 h 6668791"/>
              <a:gd name="connsiteX2" fmla="*/ 11807560 w 11807560"/>
              <a:gd name="connsiteY2" fmla="*/ 6668791 h 6668791"/>
              <a:gd name="connsiteX3" fmla="*/ 0 w 11807560"/>
              <a:gd name="connsiteY3" fmla="*/ 6668791 h 6668791"/>
              <a:gd name="connsiteX4" fmla="*/ 0 w 11807560"/>
              <a:gd name="connsiteY4" fmla="*/ 0 h 6668791"/>
              <a:gd name="connsiteX5" fmla="*/ 11807560 w 11807560"/>
              <a:gd name="connsiteY5" fmla="*/ 0 h 6668791"/>
              <a:gd name="connsiteX6" fmla="*/ 11807560 w 11807560"/>
              <a:gd name="connsiteY6" fmla="*/ 6479581 h 6668791"/>
              <a:gd name="connsiteX7" fmla="*/ 0 w 11807560"/>
              <a:gd name="connsiteY7" fmla="*/ 6479581 h 6668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560" h="6668791">
                <a:moveTo>
                  <a:pt x="0" y="6668790"/>
                </a:moveTo>
                <a:lnTo>
                  <a:pt x="11807560" y="6668790"/>
                </a:lnTo>
                <a:lnTo>
                  <a:pt x="11807560" y="6668791"/>
                </a:lnTo>
                <a:lnTo>
                  <a:pt x="0" y="6668791"/>
                </a:lnTo>
                <a:close/>
                <a:moveTo>
                  <a:pt x="0" y="0"/>
                </a:moveTo>
                <a:lnTo>
                  <a:pt x="11807560" y="0"/>
                </a:lnTo>
                <a:lnTo>
                  <a:pt x="11807560" y="6479581"/>
                </a:lnTo>
                <a:lnTo>
                  <a:pt x="0" y="6479581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 defTabSz="90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 dirty="0" err="1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:a16="http://schemas.microsoft.com/office/drawing/2014/main" id="{F1065A6B-189C-8E46-1D59-99346780D529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LOGO">
            <a:extLst>
              <a:ext uri="{FF2B5EF4-FFF2-40B4-BE49-F238E27FC236}">
                <a16:creationId xmlns:a16="http://schemas.microsoft.com/office/drawing/2014/main" id="{64577953-924D-7068-D3C0-98B62312D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CC22E2-F21B-4290-B56B-022F9C2C4E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BA1796-E553-4D7A-A32C-7417BA994DCA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898C5E-943F-4EF0-A433-E752FF2A5D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5EB725-AAD5-4A3E-84A9-A9B8DA2644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32F9D74A-FBE0-425D-9642-995123835A7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E788FAB4-76CB-4C6D-B621-6A743E02A41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Architecture Management Solu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F7E1ACF2-8A1B-4DB6-BE92-3D6012F45AA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2776389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7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orange">
            <a:extLst>
              <a:ext uri="{FF2B5EF4-FFF2-40B4-BE49-F238E27FC236}">
                <a16:creationId xmlns:a16="http://schemas.microsoft.com/office/drawing/2014/main" id="{B765FE65-7088-4AD6-4382-4CCEFE975077}"/>
              </a:ext>
            </a:extLst>
          </p:cNvPr>
          <p:cNvSpPr/>
          <p:nvPr userDrawn="1"/>
        </p:nvSpPr>
        <p:spPr>
          <a:xfrm>
            <a:off x="192220" y="189210"/>
            <a:ext cx="11807560" cy="6668791"/>
          </a:xfrm>
          <a:custGeom>
            <a:avLst/>
            <a:gdLst>
              <a:gd name="connsiteX0" fmla="*/ 0 w 11807560"/>
              <a:gd name="connsiteY0" fmla="*/ 6668790 h 6668791"/>
              <a:gd name="connsiteX1" fmla="*/ 11807560 w 11807560"/>
              <a:gd name="connsiteY1" fmla="*/ 6668790 h 6668791"/>
              <a:gd name="connsiteX2" fmla="*/ 11807560 w 11807560"/>
              <a:gd name="connsiteY2" fmla="*/ 6668791 h 6668791"/>
              <a:gd name="connsiteX3" fmla="*/ 0 w 11807560"/>
              <a:gd name="connsiteY3" fmla="*/ 6668791 h 6668791"/>
              <a:gd name="connsiteX4" fmla="*/ 0 w 11807560"/>
              <a:gd name="connsiteY4" fmla="*/ 0 h 6668791"/>
              <a:gd name="connsiteX5" fmla="*/ 11807560 w 11807560"/>
              <a:gd name="connsiteY5" fmla="*/ 0 h 6668791"/>
              <a:gd name="connsiteX6" fmla="*/ 11807560 w 11807560"/>
              <a:gd name="connsiteY6" fmla="*/ 6479581 h 6668791"/>
              <a:gd name="connsiteX7" fmla="*/ 0 w 11807560"/>
              <a:gd name="connsiteY7" fmla="*/ 6479581 h 6668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560" h="6668791">
                <a:moveTo>
                  <a:pt x="0" y="6668790"/>
                </a:moveTo>
                <a:lnTo>
                  <a:pt x="11807560" y="6668790"/>
                </a:lnTo>
                <a:lnTo>
                  <a:pt x="11807560" y="6668791"/>
                </a:lnTo>
                <a:lnTo>
                  <a:pt x="0" y="6668791"/>
                </a:lnTo>
                <a:close/>
                <a:moveTo>
                  <a:pt x="0" y="0"/>
                </a:moveTo>
                <a:lnTo>
                  <a:pt x="11807560" y="0"/>
                </a:lnTo>
                <a:lnTo>
                  <a:pt x="11807560" y="6479581"/>
                </a:lnTo>
                <a:lnTo>
                  <a:pt x="0" y="647958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 defTabSz="900000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 dirty="0" err="1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7540C32-2016-4E0F-8E09-D53276BC923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9870A63A-0ADB-4FBA-9399-BC3DD81FC026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08E8A81-A027-4543-8523-E752F8D1E1C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48C2BC-0258-48E0-B33A-97320DC4431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2249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405DA933-B4D4-4C2F-BF5A-F679206B99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2088" y="188911"/>
            <a:ext cx="11807827" cy="648017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247F53-C36C-4439-BD54-7FAC3E3BB7D5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80DCE885-3622-4ABC-A44A-7983A82863D8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B8E5DE8-E814-41EF-A4BE-37B85B9C8C73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1926CA4-6EC6-4823-B3AE-5C73E3D31217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01766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7988" y="379498"/>
            <a:ext cx="11375997" cy="935994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7987" y="1520791"/>
            <a:ext cx="11375997" cy="4572000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9698400" y="6422400"/>
            <a:ext cx="972000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1B095259-7B85-4817-B9DF-BF60FCDDCD17}" type="datetime1">
              <a:rPr lang="de-DE"/>
              <a:pPr/>
              <a:t>01.11.2023</a:t>
            </a:fld>
            <a:endParaRPr lang="de-DE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280576" y="6422400"/>
            <a:ext cx="503411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de-DE"/>
              <a:pPr/>
              <a:t>‹#›</a:t>
            </a:fld>
            <a:endParaRPr lang="de-DE" dirty="0"/>
          </a:p>
        </p:txBody>
      </p:sp>
      <p:sp>
        <p:nvSpPr>
          <p:cNvPr id="4" name="empower - DO NOT DELETE!!!"/>
          <p:cNvSpPr/>
          <p:nvPr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>
            <p:custDataLst>
              <p:tags r:id="rId2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de-DE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254704-E119-42D2-B731-CE591F07E0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36000" y="6422400"/>
            <a:ext cx="2520000" cy="15044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de-DE"/>
              <a:t>Author © Continental AG </a:t>
            </a:r>
            <a:endParaRPr lang="de-DE" dirty="0"/>
          </a:p>
        </p:txBody>
      </p:sp>
      <p:cxnSp>
        <p:nvCxnSpPr>
          <p:cNvPr id="11" name="Black Line">
            <a:extLst>
              <a:ext uri="{FF2B5EF4-FFF2-40B4-BE49-F238E27FC236}">
                <a16:creationId xmlns:a16="http://schemas.microsoft.com/office/drawing/2014/main" id="{E9378969-696F-42B5-9445-64508D338C85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3DBA5B3A-85CC-4C61-82AD-A382AD3B0038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2459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84E6EF4-0DEF-4B88-A231-4F0F145D53C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33237" y="67360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de-DE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423532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5" r:id="rId4"/>
    <p:sldLayoutId id="2147483756" r:id="rId5"/>
    <p:sldLayoutId id="2147483757" r:id="rId6"/>
    <p:sldLayoutId id="214748377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7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4" r:id="rId23"/>
    <p:sldLayoutId id="2147483775" r:id="rId24"/>
    <p:sldLayoutId id="2147483776" r:id="rId25"/>
  </p:sldLayoutIdLst>
  <p:transition>
    <p:fade/>
  </p:transition>
  <p:hf hdr="0"/>
  <p:txStyles>
    <p:titleStyle>
      <a:lvl1pPr algn="l" defTabSz="121917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80975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60000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4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20000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98525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121">
          <p15:clr>
            <a:srgbClr val="F26B43"/>
          </p15:clr>
        </p15:guide>
        <p15:guide id="3" pos="7559">
          <p15:clr>
            <a:srgbClr val="F26B43"/>
          </p15:clr>
        </p15:guide>
        <p15:guide id="4" orient="horz" pos="4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3221AB15-BCA4-4312-9395-7F4805D55F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4748DDE-22AC-4993-98C8-1162B36663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2279B9-E1B8-4446-B819-F18DD3C381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B1EEF-34FE-4B44-AC52-94F1AC20BF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4608FC4-9DED-4A67-8256-57A3DA0A44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22C2FDA-1108-43ED-A4D1-43EEA32FC1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03C085-311E-460A-AA70-4F940A9D591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DA48181-2C78-49CB-8C52-912A07842C2E}" type="slidenum">
              <a:rPr lang="de-DE"/>
              <a:pPr/>
              <a:t>1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2920D66B-4E4C-483C-AFE6-5A093FED121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Author © Continental AG 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1476087-BB33-343F-0311-858F8A5B125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DB9F308-2879-4928-8AEB-8B0BCACC467D}" type="datetime1">
              <a:rPr lang="de-DE"/>
              <a:pPr/>
              <a:t>01.1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38504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3551A4A-E995-458F-9564-898351A5705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de-DE"/>
              <a:t>Author © Continental AG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497143-894F-4A0C-8E48-7E477DF2B2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de-DE"/>
              <a:pPr/>
              <a:t>2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98C5F4A-DE99-B67A-8418-FA71CE11817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4BF22C9-D6A5-468E-A800-73C4FB597EF9}" type="datetime1">
              <a:rPr lang="de-DE"/>
              <a:pPr/>
              <a:t>01.11.2023</a:t>
            </a:fld>
            <a:endParaRPr lang="de-DE" dirty="0"/>
          </a:p>
        </p:txBody>
      </p:sp>
      <p:pic>
        <p:nvPicPr>
          <p:cNvPr id="1026" name="Picture 2" descr="V-model of SW development process (inspired by [1]-[3]). | Download  Scientific Diagram">
            <a:extLst>
              <a:ext uri="{FF2B5EF4-FFF2-40B4-BE49-F238E27FC236}">
                <a16:creationId xmlns:a16="http://schemas.microsoft.com/office/drawing/2014/main" id="{AE9F24DE-A74D-811A-B42F-ACADED6CA4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702" y="3526239"/>
            <a:ext cx="3806949" cy="2362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V-model of SW development process (inspired by [1]-[3]). | Download  Scientific Diagram">
            <a:extLst>
              <a:ext uri="{FF2B5EF4-FFF2-40B4-BE49-F238E27FC236}">
                <a16:creationId xmlns:a16="http://schemas.microsoft.com/office/drawing/2014/main" id="{CBBDD4A3-FF9A-2E71-9B92-9A4D5CEE0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0485" y="508339"/>
            <a:ext cx="2615829" cy="1623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V-model of SW development process (inspired by [1]-[3]). | Download  Scientific Diagram">
            <a:extLst>
              <a:ext uri="{FF2B5EF4-FFF2-40B4-BE49-F238E27FC236}">
                <a16:creationId xmlns:a16="http://schemas.microsoft.com/office/drawing/2014/main" id="{DE674478-B2A4-0037-86A5-D161C9FDB3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4300" y="2133772"/>
            <a:ext cx="2615829" cy="1623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V-model of SW development process (inspired by [1]-[3]). | Download  Scientific Diagram">
            <a:extLst>
              <a:ext uri="{FF2B5EF4-FFF2-40B4-BE49-F238E27FC236}">
                <a16:creationId xmlns:a16="http://schemas.microsoft.com/office/drawing/2014/main" id="{0B91E11D-155C-F926-B4B6-167F62541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3461" y="4419771"/>
            <a:ext cx="2615829" cy="1623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958A8165-F0C2-F9A2-5E70-0D43BB2538F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037365" y="659581"/>
            <a:ext cx="1151509" cy="4572000"/>
          </a:xfrm>
        </p:spPr>
        <p:txBody>
          <a:bodyPr/>
          <a:lstStyle/>
          <a:p>
            <a:r>
              <a:rPr lang="en-US" b="1" dirty="0"/>
              <a:t>Product A</a:t>
            </a:r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r>
              <a:rPr lang="en-US" b="1" dirty="0"/>
              <a:t>Product B</a:t>
            </a:r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r>
              <a:rPr lang="en-US" b="1" dirty="0"/>
              <a:t>Product C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85AD0810-05F4-858D-C1E8-DF882E791527}"/>
              </a:ext>
            </a:extLst>
          </p:cNvPr>
          <p:cNvSpPr txBox="1">
            <a:spLocks/>
          </p:cNvSpPr>
          <p:nvPr/>
        </p:nvSpPr>
        <p:spPr>
          <a:xfrm>
            <a:off x="587388" y="5829393"/>
            <a:ext cx="2106215" cy="427993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4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2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2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Platform Artifact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250BB09-0EDC-1FE7-EF0F-4F26B86BA8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336" y="1700808"/>
            <a:ext cx="4123995" cy="1145973"/>
          </a:xfrm>
          <a:prstGeom prst="rect">
            <a:avLst/>
          </a:prstGeom>
        </p:spPr>
      </p:pic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05391F1B-187E-23AF-EA6F-B044AAFEF82D}"/>
              </a:ext>
            </a:extLst>
          </p:cNvPr>
          <p:cNvSpPr txBox="1">
            <a:spLocks/>
          </p:cNvSpPr>
          <p:nvPr/>
        </p:nvSpPr>
        <p:spPr>
          <a:xfrm>
            <a:off x="860106" y="1106364"/>
            <a:ext cx="2106215" cy="427993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6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4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20000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25" indent="-180975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Feature Catalog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7370C9EC-15A9-EC51-DF64-3BE53AACA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 detail="8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7949" y="2292017"/>
            <a:ext cx="3032819" cy="2468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6E7AD607-51C0-48E4-F361-C6651E76B149}"/>
              </a:ext>
            </a:extLst>
          </p:cNvPr>
          <p:cNvSpPr/>
          <p:nvPr/>
        </p:nvSpPr>
        <p:spPr>
          <a:xfrm>
            <a:off x="3523080" y="3189270"/>
            <a:ext cx="1224136" cy="277027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C9D58457-258C-AA96-0425-F4BACACB2B5B}"/>
              </a:ext>
            </a:extLst>
          </p:cNvPr>
          <p:cNvSpPr/>
          <p:nvPr/>
        </p:nvSpPr>
        <p:spPr>
          <a:xfrm>
            <a:off x="7778417" y="3232976"/>
            <a:ext cx="1224136" cy="277027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85A1DA5D-C04D-CC1A-DC2B-84563027A0C6}"/>
              </a:ext>
            </a:extLst>
          </p:cNvPr>
          <p:cNvSpPr/>
          <p:nvPr/>
        </p:nvSpPr>
        <p:spPr>
          <a:xfrm rot="18806857">
            <a:off x="7676510" y="2267450"/>
            <a:ext cx="1224136" cy="277027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B85262BF-F7F9-3E3D-3FB9-507DEF22234C}"/>
              </a:ext>
            </a:extLst>
          </p:cNvPr>
          <p:cNvSpPr/>
          <p:nvPr/>
        </p:nvSpPr>
        <p:spPr>
          <a:xfrm rot="2020808">
            <a:off x="7793835" y="3938187"/>
            <a:ext cx="1224136" cy="277027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AE5FE3E-451A-5B04-4DFE-CA96132ACC28}"/>
              </a:ext>
            </a:extLst>
          </p:cNvPr>
          <p:cNvSpPr txBox="1"/>
          <p:nvPr/>
        </p:nvSpPr>
        <p:spPr>
          <a:xfrm>
            <a:off x="4930858" y="1700808"/>
            <a:ext cx="269456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Product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40022143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30AD728-087E-9C90-EC85-9E3AA3DC387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7" y="1520791"/>
            <a:ext cx="1151509" cy="4572000"/>
          </a:xfrm>
        </p:spPr>
        <p:txBody>
          <a:bodyPr/>
          <a:lstStyle/>
          <a:p>
            <a:r>
              <a:rPr lang="en-US" dirty="0"/>
              <a:t>Product 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AA1196-C059-03A7-17DD-669064FA1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1FE03D-8026-77D2-F1F5-8D3D15E1B64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4BF22C9-D6A5-468E-A800-73C4FB597EF9}" type="datetime1">
              <a:rPr lang="de-DE" smtClean="0"/>
              <a:pPr/>
              <a:t>01.11.2023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49645A-512A-8B3F-E29E-9E1619FA60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092D9E-0143-214A-E706-B717CC51309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77258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UNDO_REDO_REVISION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MBAQEBAQEBAQEBAQEBAQIAAAAAAAAAAwAAAAMAAAAA/////wQA0wsAAAAAAAAAAAAAIAD///////////////8AAAD///////////////8DAAAAAgD///////8DAAAAAgD///////8DAAAAAgD///////8DAAAAAgD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LAP///////wQAAAACABAAC+OZMivCpvdPiM/sKBaFslUFAAAAAAADAAAAAAADAAAAAwADAAAAAAD///////8DAAAAAAD///////8DAAAAAAD///////8DAAAAAAD///////8DAAAAAAD///////8DAAAAAAD///////8DAAAAAAD///////8DAAAAAAD///////8DAAAAAAD///////8DAAAAAAD///////8DAAEA////////BAAAAAMAEAALJ791aQfSmEmWsI2G/t5Z8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OOZMivCpvdPiM/sKBaFslUDRGF0YQAbAAAABExpbmtlZFNoYXBlRGF0YQAFAAAAAAACTmFtZQAZAAAATGlua2VkU2hhcGVzRGF0YVByb3BlcnR5ABBWZXJzaW9uAAAAAAAJTGFzdFdyaXRlANFb6Ph3AQAAAAEA/////50AnQAAAAVfaWQAEAAAAAQnv3VpB9KYSZawjYb+3lnwA0RhdGEAKgAAAAhQcmVzZW50YXRpb25TY2FubmVkRm9yTGlua2VkU2hhcGVzAAEAAk5hbWUAJAAAAExpbmtlZFNoYXBlUHJlc2VudGF0aW9uU2V0dGluZ3NEYXRhABBWZXJzaW9uAAAAAAAJTGFzdFdyaXRlAPxb6Ph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5"/>
  <p:tag name="MIO_SHOW_DATE" val="True"/>
  <p:tag name="MIO_SHOW_FOOTER" val="True"/>
  <p:tag name="MIO_SHOW_PAGENUMBER" val="True"/>
  <p:tag name="MIO_AVOID_BLANK_LAYOUT" val="False"/>
  <p:tag name="MIO_NUMBER_OF_VALID_LAYOUTS" val="20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08"/>
  <p:tag name="MIO_UPDATE" val="True"/>
  <p:tag name="MIO_VERSION" val="30.06.2017 15:02:37"/>
  <p:tag name="MIO_DBID" val="ED9FF2F2-6643-46BA-B685-7D49126FFAFF"/>
  <p:tag name="MIO_LASTDOWNLOADED" val="10.07.2017 14:27:11"/>
  <p:tag name="MIO_OBJECTNAME" val="Corporate, 16x9"/>
  <p:tag name="MIO_LASTEDITORNAME" val="Leon Kirchner_ex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EK" val="19201"/>
  <p:tag name="MIO_HDS" val="True"/>
  <p:tag name="MIO_EKGUID" val="e3e9ceb7-7c78-4334-8bc0-c31cd70564f0"/>
  <p:tag name="MIO_UPDATE" val="True"/>
  <p:tag name="MIO_DBID" val="28AD0E67-88F4-4826-B6CB-8EA6DE4EF11B"/>
  <p:tag name="MIO_OBJECTNAME" val="Automotive 16x9"/>
  <p:tag name="MIO_FALLBACK_LAYOUT" val="16"/>
  <p:tag name="MIO_SHOW_DATE" val="True"/>
  <p:tag name="MIO_SHOW_FOOTER" val="True"/>
  <p:tag name="MIO_SHOW_PAGENUMBER" val="True"/>
  <p:tag name="MIO_AVOID_BLANK_LAYOUT" val="False"/>
  <p:tag name="MIO_CD_LAYOUT_VALID_AREA" val="False"/>
  <p:tag name="MIO_NUMBER_OF_VALID_LAYOUTS" val="25"/>
  <p:tag name="MIO_VERSION" val="30.03.2023 07:25:23"/>
  <p:tag name="MIO_SKIPVERSION" val="01.01.0001 00:00:00"/>
  <p:tag name="MIO_LASTDOWNLOADED" val="01.11.2023 07:12:26.697"/>
  <p:tag name="MIO_CDID" val="d446ddb0-4ccd-4ae3-96db-87dda6130c4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heme/theme1.xml><?xml version="1.0" encoding="utf-8"?>
<a:theme xmlns:a="http://schemas.openxmlformats.org/drawingml/2006/main" name="Continental AG 2023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>
            <a:solidFill>
              <a:srgbClr val="181818"/>
            </a:solidFill>
            <a:latin typeface="Arial" panose="020B0604020202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400" b="0" i="0" u="none" baseline="0" dirty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F1D69CB5-4D45-45F0-B20B-8737AC8ED40A}" vid="{E573284F-A76D-4AC0-A0D0-CAEB22281542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</Words>
  <Application>Microsoft Office PowerPoint</Application>
  <PresentationFormat>Widescreen</PresentationFormat>
  <Paragraphs>27</Paragraphs>
  <Slides>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Arial</vt:lpstr>
      <vt:lpstr>Continental AG 2023, 16x9</vt:lpstr>
      <vt:lpstr>PowerPoint Presentation</vt:lpstr>
      <vt:lpstr>PowerPoint Presentation</vt:lpstr>
      <vt:lpstr>Pr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eon Kirchner_ext</dc:creator>
  <cp:lastModifiedBy>Gopi, Madhan</cp:lastModifiedBy>
  <cp:revision>41</cp:revision>
  <dcterms:created xsi:type="dcterms:W3CDTF">2019-04-24T08:42:37Z</dcterms:created>
  <dcterms:modified xsi:type="dcterms:W3CDTF">2023-11-01T06:2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Continental AG 2021, 16x9:7</vt:lpwstr>
  </property>
  <property fmtid="{D5CDD505-2E9C-101B-9397-08002B2CF9AE}" pid="3" name="ClassificationContentMarkingFooterText">
    <vt:lpwstr>Internal</vt:lpwstr>
  </property>
</Properties>
</file>